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7" r:id="rId2"/>
  </p:sldMasterIdLst>
  <p:notesMasterIdLst>
    <p:notesMasterId r:id="rId9"/>
  </p:notesMasterIdLst>
  <p:handoutMasterIdLst>
    <p:handoutMasterId r:id="rId10"/>
  </p:handoutMasterIdLst>
  <p:sldIdLst>
    <p:sldId id="2145704366" r:id="rId3"/>
    <p:sldId id="2145704369" r:id="rId4"/>
    <p:sldId id="2145704364" r:id="rId5"/>
    <p:sldId id="470" r:id="rId6"/>
    <p:sldId id="428" r:id="rId7"/>
    <p:sldId id="2145704368" r:id="rId8"/>
  </p:sldIdLst>
  <p:sldSz cx="13442950" cy="7561263"/>
  <p:notesSz cx="6858000" cy="9144000"/>
  <p:custDataLst>
    <p:tags r:id="rId11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576C"/>
    <a:srgbClr val="FFFFFF"/>
    <a:srgbClr val="000000"/>
    <a:srgbClr val="00863D"/>
    <a:srgbClr val="33006F"/>
    <a:srgbClr val="FB3449"/>
    <a:srgbClr val="CAC8C8"/>
    <a:srgbClr val="8547AD"/>
    <a:srgbClr val="0099A8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727" autoAdjust="0"/>
    <p:restoredTop sz="93792" autoAdjust="0"/>
  </p:normalViewPr>
  <p:slideViewPr>
    <p:cSldViewPr snapToGrid="0">
      <p:cViewPr varScale="1">
        <p:scale>
          <a:sx n="98" d="100"/>
          <a:sy n="98" d="100"/>
        </p:scale>
        <p:origin x="162" y="9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1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245549873013667E-2"/>
          <c:y val="0.32577267991468611"/>
          <c:w val="0.91046525083152741"/>
          <c:h val="0.4826167474894038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16-34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BCF7731E-F474-4A0A-BDAD-95BDF86DAAB6}" type="VALUE">
                      <a:rPr lang="en-US" sz="1400" smtClean="0"/>
                      <a:pPr>
                        <a:defRPr sz="1400" b="1">
                          <a:solidFill>
                            <a:srgbClr val="FFFFFF"/>
                          </a:solidFill>
                        </a:defRPr>
                      </a:pPr>
                      <a:t>[VALUE]</a:t>
                    </a:fld>
                    <a:r>
                      <a:rPr lang="en-US" sz="1400"/>
                      <a:t> 16-34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F97-405E-B8CF-1FC4B1D12CE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</c:f>
              <c:strCache>
                <c:ptCount val="1"/>
                <c:pt idx="0">
                  <c:v>Ready Player One</c:v>
                </c:pt>
              </c:strCache>
            </c:strRef>
          </c:cat>
          <c:val>
            <c:numRef>
              <c:f>Sheet1!$B$3</c:f>
              <c:numCache>
                <c:formatCode>0%</c:formatCode>
                <c:ptCount val="1"/>
                <c:pt idx="0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146-44B0-9F00-274F1E23A4FD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35-44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</c:f>
              <c:strCache>
                <c:ptCount val="1"/>
                <c:pt idx="0">
                  <c:v>Ready Player One</c:v>
                </c:pt>
              </c:strCache>
            </c:strRef>
          </c:cat>
          <c:val>
            <c:numRef>
              <c:f>Sheet1!$B$4</c:f>
              <c:numCache>
                <c:formatCode>0%</c:formatCode>
                <c:ptCount val="1"/>
                <c:pt idx="0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146-44B0-9F00-274F1E23A4FD}"/>
            </c:ext>
          </c:extLst>
        </c:ser>
        <c:ser>
          <c:idx val="2"/>
          <c:order val="2"/>
          <c:tx>
            <c:strRef>
              <c:f>Sheet1!$A$5</c:f>
              <c:strCache>
                <c:ptCount val="1"/>
                <c:pt idx="0">
                  <c:v>45-54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</c:f>
              <c:strCache>
                <c:ptCount val="1"/>
                <c:pt idx="0">
                  <c:v>Ready Player One</c:v>
                </c:pt>
              </c:strCache>
            </c:strRef>
          </c:cat>
          <c:val>
            <c:numRef>
              <c:f>Sheet1!$B$5</c:f>
              <c:numCache>
                <c:formatCode>0%</c:formatCode>
                <c:ptCount val="1"/>
                <c:pt idx="0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146-44B0-9F00-274F1E23A4FD}"/>
            </c:ext>
          </c:extLst>
        </c:ser>
        <c:ser>
          <c:idx val="3"/>
          <c:order val="3"/>
          <c:tx>
            <c:strRef>
              <c:f>Sheet1!$A$6</c:f>
              <c:strCache>
                <c:ptCount val="1"/>
                <c:pt idx="0">
                  <c:v>55+</c:v>
                </c:pt>
              </c:strCache>
            </c:strRef>
          </c:tx>
          <c:spPr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</c:f>
              <c:strCache>
                <c:ptCount val="1"/>
                <c:pt idx="0">
                  <c:v>Ready Player One</c:v>
                </c:pt>
              </c:strCache>
            </c:strRef>
          </c:cat>
          <c:val>
            <c:numRef>
              <c:f>Sheet1!$B$6</c:f>
              <c:numCache>
                <c:formatCode>0%</c:formatCode>
                <c:ptCount val="1"/>
                <c:pt idx="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146-44B0-9F00-274F1E23A4F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60"/>
        <c:overlap val="100"/>
        <c:axId val="438295416"/>
        <c:axId val="438299680"/>
      </c:barChart>
      <c:catAx>
        <c:axId val="43829541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solidFill>
            <a:srgbClr val="FFFFFF"/>
          </a:solidFill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8299680"/>
        <c:crosses val="autoZero"/>
        <c:auto val="1"/>
        <c:lblAlgn val="ctr"/>
        <c:lblOffset val="100"/>
        <c:noMultiLvlLbl val="0"/>
      </c:catAx>
      <c:valAx>
        <c:axId val="43829968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38295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853569915225027"/>
          <c:y val="0.69490894749791055"/>
          <c:w val="0.25776404953226689"/>
          <c:h val="5.54294671976071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626654714760346E-2"/>
          <c:y val="0.23151381964282949"/>
          <c:w val="0.90230335578163512"/>
          <c:h val="0.4652975128680997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Ma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 dirty="0"/>
                      <a:t>67%</a:t>
                    </a:r>
                    <a:r>
                      <a:rPr lang="en-US" sz="1400" baseline="0" dirty="0"/>
                      <a:t> MALE </a:t>
                    </a:r>
                    <a:endParaRPr lang="en-US" sz="140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F01C-4551-91FD-AA3EFEDE967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</c:f>
              <c:strCache>
                <c:ptCount val="1"/>
                <c:pt idx="0">
                  <c:v>Ready Player One</c:v>
                </c:pt>
              </c:strCache>
            </c:strRef>
          </c:cat>
          <c:val>
            <c:numRef>
              <c:f>Sheet1!$B$3</c:f>
              <c:numCache>
                <c:formatCode>0%</c:formatCode>
                <c:ptCount val="1"/>
                <c:pt idx="0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BE2-482D-8312-334B803F04DD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Female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</c:f>
              <c:strCache>
                <c:ptCount val="1"/>
                <c:pt idx="0">
                  <c:v>Ready Player One</c:v>
                </c:pt>
              </c:strCache>
            </c:strRef>
          </c:cat>
          <c:val>
            <c:numRef>
              <c:f>Sheet1!$B$4</c:f>
              <c:numCache>
                <c:formatCode>0%</c:formatCode>
                <c:ptCount val="1"/>
                <c:pt idx="0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BE2-482D-8312-334B803F04DD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60"/>
        <c:overlap val="100"/>
        <c:axId val="438295416"/>
        <c:axId val="438299680"/>
      </c:barChart>
      <c:catAx>
        <c:axId val="43829541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solidFill>
            <a:srgbClr val="FFFFFF"/>
          </a:solidFill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8299680"/>
        <c:crosses val="autoZero"/>
        <c:auto val="1"/>
        <c:lblAlgn val="ctr"/>
        <c:lblOffset val="100"/>
        <c:noMultiLvlLbl val="0"/>
      </c:catAx>
      <c:valAx>
        <c:axId val="43829968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38295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075337091112731"/>
          <c:y val="0.64756107965456733"/>
          <c:w val="0.25776404953226689"/>
          <c:h val="5.54294671976071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2613207655130074E-2"/>
          <c:y val="0.26236143998877826"/>
          <c:w val="0.90131681422793219"/>
          <c:h val="0.4652975128680997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ABC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 rot="0" spcFirstLastPara="1" vertOverflow="ellipsis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rgbClr val="FFFFF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400"/>
                      <a:t>70%</a:t>
                    </a:r>
                    <a:r>
                      <a:rPr lang="en-US" sz="1400" baseline="0"/>
                      <a:t> ABC1</a:t>
                    </a:r>
                    <a:endParaRPr lang="en-US" sz="1400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63E8-4A9E-80EB-0BF480DBADD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</c:f>
              <c:strCache>
                <c:ptCount val="1"/>
                <c:pt idx="0">
                  <c:v>Ready Player One</c:v>
                </c:pt>
              </c:strCache>
            </c:strRef>
          </c:cat>
          <c:val>
            <c:numRef>
              <c:f>Sheet1!$B$3</c:f>
              <c:numCache>
                <c:formatCode>0%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3D3-4C36-9604-D34A0DB3EFD4}"/>
            </c:ext>
          </c:extLst>
        </c:ser>
        <c:ser>
          <c:idx val="1"/>
          <c:order val="1"/>
          <c:tx>
            <c:strRef>
              <c:f>Sheet1!$A$4</c:f>
              <c:strCache>
                <c:ptCount val="1"/>
                <c:pt idx="0">
                  <c:v>C2DE</c:v>
                </c:pt>
              </c:strCache>
            </c:strRef>
          </c:tx>
          <c:spPr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</c:f>
              <c:strCache>
                <c:ptCount val="1"/>
                <c:pt idx="0">
                  <c:v>Ready Player One</c:v>
                </c:pt>
              </c:strCache>
            </c:strRef>
          </c:cat>
          <c:val>
            <c:numRef>
              <c:f>Sheet1!$B$4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3D3-4C36-9604-D34A0DB3EFD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60"/>
        <c:overlap val="100"/>
        <c:axId val="438295416"/>
        <c:axId val="438299680"/>
      </c:barChart>
      <c:catAx>
        <c:axId val="438295416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solidFill>
            <a:srgbClr val="FFFFFF"/>
          </a:solidFill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8299680"/>
        <c:crosses val="autoZero"/>
        <c:auto val="1"/>
        <c:lblAlgn val="ctr"/>
        <c:lblOffset val="100"/>
        <c:noMultiLvlLbl val="0"/>
      </c:catAx>
      <c:valAx>
        <c:axId val="438299680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38295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7075337091112731"/>
          <c:y val="0.64756107965456733"/>
          <c:w val="0.25776404953226689"/>
          <c:h val="5.542946719760715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accent6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1/18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1/18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838193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65303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24836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4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3354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2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76531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2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70445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61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64809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51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48106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41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161210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31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6298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20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5090568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257865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11346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270998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599288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541883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18861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04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42717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39461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3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756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3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53036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32865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02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43430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92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4847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425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9316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8" r:id="rId1"/>
    <p:sldLayoutId id="2147484059" r:id="rId2"/>
    <p:sldLayoutId id="2147484060" r:id="rId3"/>
    <p:sldLayoutId id="2147484061" r:id="rId4"/>
    <p:sldLayoutId id="2147484062" r:id="rId5"/>
    <p:sldLayoutId id="2147484063" r:id="rId6"/>
    <p:sldLayoutId id="2147484064" r:id="rId7"/>
    <p:sldLayoutId id="2147484065" r:id="rId8"/>
    <p:sldLayoutId id="2147484066" r:id="rId9"/>
    <p:sldLayoutId id="2147484067" r:id="rId10"/>
    <p:sldLayoutId id="2147484068" r:id="rId11"/>
    <p:sldLayoutId id="2147484069" r:id="rId12"/>
    <p:sldLayoutId id="2147484070" r:id="rId13"/>
    <p:sldLayoutId id="2147484071" r:id="rId14"/>
    <p:sldLayoutId id="2147484072" r:id="rId15"/>
    <p:sldLayoutId id="2147484073" r:id="rId16"/>
    <p:sldLayoutId id="2147484074" r:id="rId17"/>
    <p:sldLayoutId id="2147484075" r:id="rId18"/>
    <p:sldLayoutId id="2147484076" r:id="rId19"/>
    <p:sldLayoutId id="2147484077" r:id="rId20"/>
    <p:sldLayoutId id="2147484078" r:id="rId21"/>
    <p:sldLayoutId id="2147484079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hyperlink" Target="https://www.theguardian.com/games/2019/nov/29/gamers-back-under-dungeons-and-dragons-spell" TargetMode="External"/><Relationship Id="rId7" Type="http://schemas.openxmlformats.org/officeDocument/2006/relationships/image" Target="../media/image7.png"/><Relationship Id="rId2" Type="http://schemas.openxmlformats.org/officeDocument/2006/relationships/hyperlink" Target="https://www.telegraph.co.uk/family/life/how-dungeons-dragons-became-cool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8BE5CF2A-327D-4688-A61C-3AA502037A15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313391" y="1943950"/>
            <a:ext cx="8173217" cy="3133282"/>
          </a:xfrm>
        </p:spPr>
        <p:txBody>
          <a:bodyPr/>
          <a:lstStyle/>
          <a:p>
            <a:pPr>
              <a:lnSpc>
                <a:spcPts val="1800"/>
              </a:lnSpc>
            </a:pPr>
            <a:r>
              <a:rPr lang="en-GB" alt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YNOPSIS</a:t>
            </a:r>
          </a:p>
          <a:p>
            <a:pPr>
              <a:lnSpc>
                <a:spcPts val="1800"/>
              </a:lnSpc>
            </a:pPr>
            <a:r>
              <a:rPr lang="en-GB" altLang="en-US" sz="11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 charming thief and a band of unlikely adventurers embark on an epic quest to retrieve a lost relic, but things go dangerously awry when they run afoul of the wrong people.</a:t>
            </a:r>
          </a:p>
          <a:p>
            <a:pPr>
              <a:lnSpc>
                <a:spcPts val="1800"/>
              </a:lnSpc>
            </a:pPr>
            <a:endParaRPr lang="en-GB" alt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AST</a:t>
            </a:r>
          </a:p>
          <a:p>
            <a:pPr>
              <a:lnSpc>
                <a:spcPts val="1800"/>
              </a:lnSpc>
            </a:pPr>
            <a:r>
              <a:rPr lang="en-GB" altLang="en-US" sz="11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hris Pine, Michelle Rodriguez, </a:t>
            </a:r>
            <a:r>
              <a:rPr lang="en-GB" altLang="en-US" sz="1100" b="0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ge</a:t>
            </a:r>
            <a:r>
              <a:rPr lang="en-GB" altLang="en-US" sz="11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-Jean Page, Justice Smith &amp; Hugh Grant</a:t>
            </a:r>
          </a:p>
          <a:p>
            <a:pPr>
              <a:lnSpc>
                <a:spcPts val="1800"/>
              </a:lnSpc>
            </a:pPr>
            <a:endParaRPr lang="en-GB" altLang="en-US" sz="11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r>
              <a:rPr lang="en-GB" altLang="en-US" sz="11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DCM TAKE</a:t>
            </a:r>
          </a:p>
          <a:p>
            <a:pPr>
              <a:lnSpc>
                <a:spcPts val="1800"/>
              </a:lnSpc>
            </a:pPr>
            <a:r>
              <a:rPr lang="en-GB" altLang="en-US" sz="11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hile the fate of video game adaptations has been somewhat mixed historically at the UK box office, recent signs are promising with the success of </a:t>
            </a:r>
            <a:r>
              <a:rPr lang="en-GB" altLang="en-US" sz="11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tective Pikachu, Sonic the Hedgehog 2</a:t>
            </a:r>
            <a:r>
              <a:rPr lang="en-GB" altLang="en-US" sz="11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and </a:t>
            </a:r>
            <a:r>
              <a:rPr lang="en-GB" altLang="en-US" sz="11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ncharted. </a:t>
            </a:r>
            <a:r>
              <a:rPr lang="en-GB" altLang="en-US" sz="11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ttention now turns to the one of the most famous fantasy board games being translated into a big-screen adventure epic. The cast is full of notable names recruited from other hugely successful big-screen franchises – </a:t>
            </a:r>
            <a:r>
              <a:rPr lang="en-GB" altLang="en-US" sz="11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r Trek, Fast &amp; Furious, Jurassic World – </a:t>
            </a:r>
            <a:r>
              <a:rPr lang="en-GB" altLang="en-US" sz="11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and its Rege-Jean Page’s first big-screen role since his breakout in Netflix’s Bridgerton. With a similar Spring release, </a:t>
            </a:r>
            <a:r>
              <a:rPr lang="en-GB" altLang="en-US" sz="11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ungeons &amp; Dragons: Honour Among Thieves </a:t>
            </a:r>
            <a:r>
              <a:rPr lang="en-GB" altLang="en-US" sz="11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ill be hoping for some of the same success that </a:t>
            </a:r>
            <a:r>
              <a:rPr lang="en-GB" altLang="en-US" sz="1100" b="0" i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Uncharted </a:t>
            </a:r>
            <a:r>
              <a:rPr lang="en-GB" altLang="en-US" sz="1100" b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w in 2021. The video game adaptation well out-performed DCM expectations, delivering 2.6m admissions (3x our original forecast) and 13 16-34 TVRs. </a:t>
            </a:r>
          </a:p>
          <a:p>
            <a:pPr>
              <a:lnSpc>
                <a:spcPts val="1800"/>
              </a:lnSpc>
            </a:pPr>
            <a:endParaRPr lang="en-GB" alt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endParaRPr lang="en-GB" alt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>
              <a:lnSpc>
                <a:spcPts val="1800"/>
              </a:lnSpc>
            </a:pPr>
            <a:endParaRPr lang="en-GB" altLang="en-US" sz="1100" b="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6D58C6F-AAA5-44A7-9C96-B309160D83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ungeons &amp; dragons: HONOUR AMONG THIEVES</a:t>
            </a:r>
            <a:endParaRPr lang="en-US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2A7988D-BBCB-4B53-861D-574B3D754B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An eclectic cast embark on a quest inspired by the fantasy role playing board gam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5822937-1369-4930-8648-0951018680F8}"/>
              </a:ext>
            </a:extLst>
          </p:cNvPr>
          <p:cNvSpPr/>
          <p:nvPr/>
        </p:nvSpPr>
        <p:spPr>
          <a:xfrm>
            <a:off x="11127893" y="7198930"/>
            <a:ext cx="2315057" cy="19492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ts val="842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Tx/>
              <a:buNone/>
              <a:tabLst/>
              <a:defRPr/>
            </a:pPr>
            <a:r>
              <a:rPr kumimoji="0" lang="en-GB" sz="7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DCM Planner, based on industry admissions </a:t>
            </a:r>
            <a:endParaRPr kumimoji="0" lang="en-US" sz="7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11" name="Table 5">
            <a:extLst>
              <a:ext uri="{FF2B5EF4-FFF2-40B4-BE49-F238E27FC236}">
                <a16:creationId xmlns:a16="http://schemas.microsoft.com/office/drawing/2014/main" id="{9D918563-3EC7-448A-A450-1695179FC6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2868473"/>
              </p:ext>
            </p:extLst>
          </p:nvPr>
        </p:nvGraphicFramePr>
        <p:xfrm>
          <a:off x="250950" y="993181"/>
          <a:ext cx="8235658" cy="822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71944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2150917">
                  <a:extLst>
                    <a:ext uri="{9D8B030D-6E8A-4147-A177-3AD203B41FA5}">
                      <a16:colId xmlns:a16="http://schemas.microsoft.com/office/drawing/2014/main" val="1430915649"/>
                    </a:ext>
                  </a:extLst>
                </a:gridCol>
                <a:gridCol w="1166200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337996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2208601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</a:tblGrid>
              <a:tr h="348698"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RELEASE DAT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EST. INDUSTRY ADMISSION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GEN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HFSS BRAND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ALCOHOL/GAMBLING BRAND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48698"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 March 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m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ction, Fantasy, Adventur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Ye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No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3609DACE-B832-4C9A-912A-8045E3FAE3C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5142660"/>
              </p:ext>
            </p:extLst>
          </p:nvPr>
        </p:nvGraphicFramePr>
        <p:xfrm>
          <a:off x="270000" y="5742284"/>
          <a:ext cx="8088912" cy="10476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48152">
                  <a:extLst>
                    <a:ext uri="{9D8B030D-6E8A-4147-A177-3AD203B41FA5}">
                      <a16:colId xmlns:a16="http://schemas.microsoft.com/office/drawing/2014/main" val="1395259455"/>
                    </a:ext>
                  </a:extLst>
                </a:gridCol>
                <a:gridCol w="1348152">
                  <a:extLst>
                    <a:ext uri="{9D8B030D-6E8A-4147-A177-3AD203B41FA5}">
                      <a16:colId xmlns:a16="http://schemas.microsoft.com/office/drawing/2014/main" val="683455642"/>
                    </a:ext>
                  </a:extLst>
                </a:gridCol>
                <a:gridCol w="1348152">
                  <a:extLst>
                    <a:ext uri="{9D8B030D-6E8A-4147-A177-3AD203B41FA5}">
                      <a16:colId xmlns:a16="http://schemas.microsoft.com/office/drawing/2014/main" val="2016657501"/>
                    </a:ext>
                  </a:extLst>
                </a:gridCol>
                <a:gridCol w="1348152">
                  <a:extLst>
                    <a:ext uri="{9D8B030D-6E8A-4147-A177-3AD203B41FA5}">
                      <a16:colId xmlns:a16="http://schemas.microsoft.com/office/drawing/2014/main" val="2752111294"/>
                    </a:ext>
                  </a:extLst>
                </a:gridCol>
                <a:gridCol w="1348152">
                  <a:extLst>
                    <a:ext uri="{9D8B030D-6E8A-4147-A177-3AD203B41FA5}">
                      <a16:colId xmlns:a16="http://schemas.microsoft.com/office/drawing/2014/main" val="1099605818"/>
                    </a:ext>
                  </a:extLst>
                </a:gridCol>
                <a:gridCol w="1348152">
                  <a:extLst>
                    <a:ext uri="{9D8B030D-6E8A-4147-A177-3AD203B41FA5}">
                      <a16:colId xmlns:a16="http://schemas.microsoft.com/office/drawing/2014/main" val="19339951"/>
                    </a:ext>
                  </a:extLst>
                </a:gridCol>
              </a:tblGrid>
              <a:tr h="242005">
                <a:tc>
                  <a:txBody>
                    <a:bodyPr/>
                    <a:lstStyle/>
                    <a:p>
                      <a:pPr algn="ctr"/>
                      <a:endParaRPr lang="en-GB" sz="105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alt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dults (16+)</a:t>
                      </a:r>
                      <a:endParaRPr lang="en-GB" sz="105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alt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6-34 Adults</a:t>
                      </a:r>
                      <a:endParaRPr lang="en-GB" sz="105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alt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6-34 Men</a:t>
                      </a:r>
                      <a:endParaRPr lang="en-GB" sz="105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GB" alt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BC1 Adults</a:t>
                      </a:r>
                      <a:endParaRPr lang="en-GB" sz="105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alt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ABC1 Men</a:t>
                      </a:r>
                      <a:endParaRPr lang="en-GB" sz="105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0658108"/>
                  </a:ext>
                </a:extLst>
              </a:tr>
              <a:tr h="242005">
                <a:tc>
                  <a:txBody>
                    <a:bodyPr/>
                    <a:lstStyle/>
                    <a:p>
                      <a:pPr algn="r"/>
                      <a:r>
                        <a:rPr kumimoji="0" lang="en-GB" alt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REACH</a:t>
                      </a:r>
                      <a:endParaRPr lang="en-GB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.8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.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4699348"/>
                  </a:ext>
                </a:extLst>
              </a:tr>
              <a:tr h="242005">
                <a:tc>
                  <a:txBody>
                    <a:bodyPr/>
                    <a:lstStyle/>
                    <a:p>
                      <a:pPr algn="r"/>
                      <a:r>
                        <a:rPr kumimoji="0" lang="en-GB" alt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IMPACTS</a:t>
                      </a:r>
                      <a:endParaRPr lang="en-GB" sz="105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56k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93k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22k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56k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48k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23583829"/>
                  </a:ext>
                </a:extLst>
              </a:tr>
              <a:tr h="282217">
                <a:tc>
                  <a:txBody>
                    <a:bodyPr/>
                    <a:lstStyle/>
                    <a:p>
                      <a:pPr marL="0" marR="0" lvl="0" indent="0" algn="r" defTabSz="961844" rtl="0" eaLnBrk="1" fontAlgn="auto" latinLnBrk="0" hangingPunct="1">
                        <a:lnSpc>
                          <a:spcPts val="18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ct val="100000"/>
                        <a:buFont typeface="Arial"/>
                        <a:buNone/>
                        <a:tabLst/>
                        <a:defRPr/>
                      </a:pPr>
                      <a:r>
                        <a:rPr kumimoji="0" lang="en-GB" altLang="en-US" sz="105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TVRS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.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9276226"/>
                  </a:ext>
                </a:extLst>
              </a:tr>
            </a:tbl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68D40E65-8CA8-769A-085E-C7289E73998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5"/>
          <a:stretch/>
        </p:blipFill>
        <p:spPr>
          <a:xfrm>
            <a:off x="8731545" y="567159"/>
            <a:ext cx="4189227" cy="6000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513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Oval 24">
            <a:extLst>
              <a:ext uri="{FF2B5EF4-FFF2-40B4-BE49-F238E27FC236}">
                <a16:creationId xmlns:a16="http://schemas.microsoft.com/office/drawing/2014/main" id="{B5481B0E-244A-416B-B110-6FF05DE90C61}"/>
              </a:ext>
            </a:extLst>
          </p:cNvPr>
          <p:cNvSpPr/>
          <p:nvPr/>
        </p:nvSpPr>
        <p:spPr>
          <a:xfrm>
            <a:off x="5494263" y="3780631"/>
            <a:ext cx="2698972" cy="2583712"/>
          </a:xfrm>
          <a:prstGeom prst="ellipse">
            <a:avLst/>
          </a:prstGeom>
          <a:solidFill>
            <a:srgbClr val="EA576C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>
                <a:solidFill>
                  <a:srgbClr val="FFFFFF"/>
                </a:solidFill>
              </a:rPr>
              <a:t>D&amp;D saw usage increase by +33% thanks to the Covid lockdown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9A71A21-B146-4684-84EB-800F8A01D4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UNGEONS &amp; DRAGONS HAS EXPERIENCED A RENAISSANCE IN RECENT YEAR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F59090C-F19B-42DC-B28A-322AE431D1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68093" y="7239509"/>
            <a:ext cx="5430395" cy="123111"/>
          </a:xfrm>
        </p:spPr>
        <p:txBody>
          <a:bodyPr/>
          <a:lstStyle/>
          <a:p>
            <a:r>
              <a:rPr lang="en-GB" dirty="0"/>
              <a:t>Sources: </a:t>
            </a:r>
            <a:r>
              <a:rPr lang="en-GB" dirty="0">
                <a:hlinkClick r:id="rId2"/>
              </a:rPr>
              <a:t>The Telegraph </a:t>
            </a:r>
            <a:r>
              <a:rPr lang="en-GB" dirty="0"/>
              <a:t>and </a:t>
            </a:r>
            <a:r>
              <a:rPr lang="en-GB" dirty="0">
                <a:hlinkClick r:id="rId3"/>
              </a:rPr>
              <a:t>The Guardian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EA1F45A-C09C-46BC-BF9E-63AB4BD64D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altLang="en-US" sz="1400" dirty="0">
                <a:latin typeface="Arial" pitchFamily="34" charset="0"/>
                <a:cs typeface="Arial" pitchFamily="34" charset="0"/>
              </a:rPr>
              <a:t>Originally published in 1974, the Dungeons and Dragons board game has deeply influenced media culture since its arrival and has experienced a resurgence in popularity in recent years thanks in no small part to its appearance in Netfli</a:t>
            </a:r>
            <a:r>
              <a:rPr lang="en-GB" altLang="en-US" dirty="0">
                <a:latin typeface="Arial" pitchFamily="34" charset="0"/>
                <a:cs typeface="Arial" pitchFamily="34" charset="0"/>
              </a:rPr>
              <a:t>x’s Stranger Things. </a:t>
            </a:r>
            <a:endParaRPr lang="en-GB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C1D025AB-652A-43B7-9119-5F2A83FA50B9}"/>
              </a:ext>
            </a:extLst>
          </p:cNvPr>
          <p:cNvGrpSpPr/>
          <p:nvPr/>
        </p:nvGrpSpPr>
        <p:grpSpPr>
          <a:xfrm>
            <a:off x="216835" y="1385770"/>
            <a:ext cx="7569100" cy="1931633"/>
            <a:chOff x="598484" y="1848998"/>
            <a:chExt cx="7569100" cy="193163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C331665-192C-44F3-A4ED-C67763978A7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60836" y="2408840"/>
              <a:ext cx="7506748" cy="1371791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9EF5C336-7D22-4453-83F3-36A07AECA8C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98484" y="1875333"/>
              <a:ext cx="2162477" cy="552527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D08BFC7-A8AC-44A1-A77E-C7BCD0274177}"/>
                </a:ext>
              </a:extLst>
            </p:cNvPr>
            <p:cNvSpPr/>
            <p:nvPr/>
          </p:nvSpPr>
          <p:spPr>
            <a:xfrm>
              <a:off x="660836" y="1848998"/>
              <a:ext cx="7506748" cy="1931633"/>
            </a:xfrm>
            <a:prstGeom prst="rect">
              <a:avLst/>
            </a:prstGeom>
            <a:noFill/>
            <a:ln w="12700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GB" dirty="0">
                <a:solidFill>
                  <a:schemeClr val="bg1"/>
                </a:solidFill>
              </a:endParaRPr>
            </a:p>
          </p:txBody>
        </p: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072D61FB-546D-462E-9E7F-FA1486C48546}"/>
              </a:ext>
            </a:extLst>
          </p:cNvPr>
          <p:cNvSpPr/>
          <p:nvPr/>
        </p:nvSpPr>
        <p:spPr>
          <a:xfrm>
            <a:off x="1753176" y="3780631"/>
            <a:ext cx="2698972" cy="25837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>
                <a:solidFill>
                  <a:srgbClr val="FFFFFF"/>
                </a:solidFill>
              </a:rPr>
              <a:t>50m people have interacted with the game since its creation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34888192-3A46-4FA5-AF5E-AFD3167DBE4E}"/>
              </a:ext>
            </a:extLst>
          </p:cNvPr>
          <p:cNvSpPr/>
          <p:nvPr/>
        </p:nvSpPr>
        <p:spPr>
          <a:xfrm>
            <a:off x="9235351" y="3768871"/>
            <a:ext cx="2698972" cy="258371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2000" b="1" dirty="0">
                <a:solidFill>
                  <a:srgbClr val="FFFFFF"/>
                </a:solidFill>
              </a:rPr>
              <a:t>D&amp;D’s demo is changing too: 40% of players are now under 25</a:t>
            </a: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7A40A053-FA18-4DFE-AFF2-A191F7DA19C2}"/>
              </a:ext>
            </a:extLst>
          </p:cNvPr>
          <p:cNvGrpSpPr/>
          <p:nvPr/>
        </p:nvGrpSpPr>
        <p:grpSpPr>
          <a:xfrm>
            <a:off x="7869929" y="1326049"/>
            <a:ext cx="5428559" cy="1991354"/>
            <a:chOff x="7869929" y="1326049"/>
            <a:chExt cx="5428559" cy="1991354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B3B4CF7-61AC-47FB-8125-C423C8549C72}"/>
                </a:ext>
              </a:extLst>
            </p:cNvPr>
            <p:cNvGrpSpPr/>
            <p:nvPr/>
          </p:nvGrpSpPr>
          <p:grpSpPr>
            <a:xfrm>
              <a:off x="7869929" y="1326049"/>
              <a:ext cx="5428559" cy="1991354"/>
              <a:chOff x="557571" y="3874290"/>
              <a:chExt cx="5428559" cy="1991354"/>
            </a:xfrm>
          </p:grpSpPr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1DF6F3B7-F7AC-4003-A20A-0B26171CECD7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1"/>
              <a:stretch/>
            </p:blipFill>
            <p:spPr>
              <a:xfrm>
                <a:off x="647911" y="4045976"/>
                <a:ext cx="4589525" cy="734426"/>
              </a:xfrm>
              <a:prstGeom prst="rect">
                <a:avLst/>
              </a:prstGeom>
            </p:spPr>
          </p:pic>
          <p:pic>
            <p:nvPicPr>
              <p:cNvPr id="15" name="Picture 14" descr="Logo&#10;&#10;Description automatically generated">
                <a:extLst>
                  <a:ext uri="{FF2B5EF4-FFF2-40B4-BE49-F238E27FC236}">
                    <a16:creationId xmlns:a16="http://schemas.microsoft.com/office/drawing/2014/main" id="{2F0324C3-AECC-4E04-8738-D7037F53457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882180" y="3874290"/>
                <a:ext cx="1103950" cy="620972"/>
              </a:xfrm>
              <a:prstGeom prst="rect">
                <a:avLst/>
              </a:prstGeom>
            </p:spPr>
          </p:pic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B9E9344-BDF4-4F19-ABF5-CD5473377AE8}"/>
                  </a:ext>
                </a:extLst>
              </p:cNvPr>
              <p:cNvSpPr/>
              <p:nvPr/>
            </p:nvSpPr>
            <p:spPr>
              <a:xfrm>
                <a:off x="557571" y="3934047"/>
                <a:ext cx="5428559" cy="1931597"/>
              </a:xfrm>
              <a:prstGeom prst="rect">
                <a:avLst/>
              </a:prstGeom>
              <a:noFill/>
              <a:ln w="12700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rtlCol="0" anchor="ctr"/>
              <a:lstStyle/>
              <a:p>
                <a:pPr algn="ctr"/>
                <a:endParaRPr lang="en-GB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18AF33A9-B621-42C2-85A4-2511E620228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60269" y="2291467"/>
              <a:ext cx="5090964" cy="84704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62754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24AF01-3C66-45E1-8929-C945A42D65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45316" y="7251119"/>
            <a:ext cx="6562409" cy="123111"/>
          </a:xfrm>
        </p:spPr>
        <p:txBody>
          <a:bodyPr/>
          <a:lstStyle/>
          <a:p>
            <a:r>
              <a:rPr lang="en-GB" dirty="0"/>
              <a:t>Source: CAA Film Monitor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FC7672C5-521C-C0E0-034E-3D8C4CE4920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54134464"/>
              </p:ext>
            </p:extLst>
          </p:nvPr>
        </p:nvGraphicFramePr>
        <p:xfrm>
          <a:off x="157018" y="354977"/>
          <a:ext cx="12487565" cy="2933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2C6D2109-021D-38B4-FA21-5F5C4297A8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3833672"/>
              </p:ext>
            </p:extLst>
          </p:nvPr>
        </p:nvGraphicFramePr>
        <p:xfrm>
          <a:off x="157018" y="2187594"/>
          <a:ext cx="12561455" cy="3293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A432079-CE3C-22A4-FBEE-05B6071AD3E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02772949"/>
              </p:ext>
            </p:extLst>
          </p:nvPr>
        </p:nvGraphicFramePr>
        <p:xfrm>
          <a:off x="135225" y="3957510"/>
          <a:ext cx="12583248" cy="3293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itle 4">
            <a:extLst>
              <a:ext uri="{FF2B5EF4-FFF2-40B4-BE49-F238E27FC236}">
                <a16:creationId xmlns:a16="http://schemas.microsoft.com/office/drawing/2014/main" id="{8C8E0525-1CA6-B98A-60CE-1A29FEE971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GB" dirty="0"/>
              <a:t>DUNGEONS &amp; DRAGONS will attract YOUNG ABC1 m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C0CAEE3-83EF-513E-D2D5-AEF827A0397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4747" y="664058"/>
            <a:ext cx="12145377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Using the comparative film profile of Ready Player One, we can predict strong figures for the sequel for young males</a:t>
            </a:r>
          </a:p>
        </p:txBody>
      </p:sp>
    </p:spTree>
    <p:extLst>
      <p:ext uri="{BB962C8B-B14F-4D97-AF65-F5344CB8AC3E}">
        <p14:creationId xmlns:p14="http://schemas.microsoft.com/office/powerpoint/2010/main" val="2047915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A40C580F-9DCE-4EB2-9E50-BBDF1F06F6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oung men are more receptive to ads in the cinema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2CD4939-530E-4344-B0F0-01EF3C2B31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12423740" cy="436608"/>
          </a:xfrm>
        </p:spPr>
        <p:txBody>
          <a:bodyPr/>
          <a:lstStyle/>
          <a:p>
            <a:r>
              <a:rPr lang="en-GB" dirty="0"/>
              <a:t>In addition to being more likely to trust cinema ads compared to other media, in helping them make a purchase decision 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EA632C-0542-4FC6-BF59-530DD1CA6D7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58324" y="7201319"/>
            <a:ext cx="3910011" cy="246221"/>
          </a:xfrm>
        </p:spPr>
        <p:txBody>
          <a:bodyPr/>
          <a:lstStyle/>
          <a:p>
            <a:r>
              <a:rPr lang="en-GB" dirty="0"/>
              <a:t>Source: FAME 2021 Target: 16-34 Men cinemagoers. TGI GB September 2022. Target: 16-34 Men cinemagoers. Index vs the avg. UK adult.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036F905F-5F43-4D18-6379-08512327ED21}"/>
              </a:ext>
            </a:extLst>
          </p:cNvPr>
          <p:cNvSpPr txBox="1">
            <a:spLocks/>
          </p:cNvSpPr>
          <p:nvPr/>
        </p:nvSpPr>
        <p:spPr>
          <a:xfrm>
            <a:off x="365537" y="4886126"/>
            <a:ext cx="3671003" cy="1781686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r>
              <a:rPr lang="en-GB" sz="1600" dirty="0">
                <a:solidFill>
                  <a:srgbClr val="8A8A8D"/>
                </a:solidFill>
                <a:latin typeface="Arial"/>
              </a:rPr>
              <a:t>Agree they pay attention to ads in the cinema &amp; find cinema ads useful in helping them make a purchase decision </a:t>
            </a:r>
          </a:p>
          <a:p>
            <a:pPr marL="0" marR="0" lvl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/>
            </a:pPr>
            <a:endParaRPr lang="en-GB" sz="1600" dirty="0">
              <a:solidFill>
                <a:srgbClr val="8A8A8D"/>
              </a:solidFill>
              <a:latin typeface="Arial"/>
            </a:endParaRP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C93D0B74-1413-0BE0-5757-3FF3DF5D8F28}"/>
              </a:ext>
            </a:extLst>
          </p:cNvPr>
          <p:cNvSpPr txBox="1">
            <a:spLocks/>
          </p:cNvSpPr>
          <p:nvPr/>
        </p:nvSpPr>
        <p:spPr>
          <a:xfrm>
            <a:off x="8860217" y="4903467"/>
            <a:ext cx="3805298" cy="115461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dirty="0">
                <a:solidFill>
                  <a:schemeClr val="accent6"/>
                </a:solidFill>
              </a:rPr>
              <a:t>Agree “I am more likely to recommend brands when advertised at the cinema than in other places like TV or social media”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C34A9EFB-9BAA-8395-15A7-4EBAEC7AAEE6}"/>
              </a:ext>
            </a:extLst>
          </p:cNvPr>
          <p:cNvSpPr txBox="1">
            <a:spLocks/>
          </p:cNvSpPr>
          <p:nvPr/>
        </p:nvSpPr>
        <p:spPr>
          <a:xfrm>
            <a:off x="4623820" y="4903467"/>
            <a:ext cx="3294496" cy="810882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1600" dirty="0">
                <a:solidFill>
                  <a:schemeClr val="accent6"/>
                </a:solidFill>
              </a:rPr>
              <a:t>Agree that they feel either excited, engaged or happy when watching ads in </a:t>
            </a:r>
          </a:p>
          <a:p>
            <a:pPr algn="ctr">
              <a:lnSpc>
                <a:spcPct val="100000"/>
              </a:lnSpc>
            </a:pPr>
            <a:r>
              <a:rPr lang="en-GB" sz="1600" dirty="0">
                <a:solidFill>
                  <a:schemeClr val="accent6"/>
                </a:solidFill>
              </a:rPr>
              <a:t>the cinema 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id="{5315085C-FF8C-42E0-AE73-686291CEC69B}"/>
              </a:ext>
            </a:extLst>
          </p:cNvPr>
          <p:cNvSpPr/>
          <p:nvPr/>
        </p:nvSpPr>
        <p:spPr>
          <a:xfrm>
            <a:off x="739063" y="1520787"/>
            <a:ext cx="2923953" cy="294521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7200" b="1" dirty="0">
                <a:solidFill>
                  <a:srgbClr val="FFFFFF"/>
                </a:solidFill>
              </a:rPr>
              <a:t>2x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likely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57B1329-EE63-42F4-8A84-60E17CAF162C}"/>
              </a:ext>
            </a:extLst>
          </p:cNvPr>
          <p:cNvSpPr/>
          <p:nvPr/>
        </p:nvSpPr>
        <p:spPr>
          <a:xfrm>
            <a:off x="4835013" y="1520787"/>
            <a:ext cx="2923953" cy="294521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7200" b="1" dirty="0">
                <a:solidFill>
                  <a:srgbClr val="FFFFFF"/>
                </a:solidFill>
              </a:rPr>
              <a:t>10%</a:t>
            </a:r>
          </a:p>
          <a:p>
            <a:pPr algn="ctr"/>
            <a:r>
              <a:rPr lang="en-GB" sz="1600" b="1" dirty="0">
                <a:solidFill>
                  <a:srgbClr val="FFFFFF"/>
                </a:solidFill>
              </a:rPr>
              <a:t>More likely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35471FB6-A18E-43AE-BE6F-102AB85EB638}"/>
              </a:ext>
            </a:extLst>
          </p:cNvPr>
          <p:cNvSpPr/>
          <p:nvPr/>
        </p:nvSpPr>
        <p:spPr>
          <a:xfrm>
            <a:off x="9300889" y="1529457"/>
            <a:ext cx="2923953" cy="294521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7200" b="1" dirty="0">
                <a:solidFill>
                  <a:srgbClr val="FFFFFF"/>
                </a:solidFill>
              </a:rPr>
              <a:t>21%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likely</a:t>
            </a:r>
          </a:p>
        </p:txBody>
      </p:sp>
    </p:spTree>
    <p:extLst>
      <p:ext uri="{BB962C8B-B14F-4D97-AF65-F5344CB8AC3E}">
        <p14:creationId xmlns:p14="http://schemas.microsoft.com/office/powerpoint/2010/main" val="220574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55778" name="Picture 2" descr="Dungeons And Dragons: Honor Among Thieves Release Date Shifted">
            <a:extLst>
              <a:ext uri="{FF2B5EF4-FFF2-40B4-BE49-F238E27FC236}">
                <a16:creationId xmlns:a16="http://schemas.microsoft.com/office/drawing/2014/main" id="{D92A6D97-0C20-9D0E-81C9-1DD2B4B2860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" y="-19557"/>
            <a:ext cx="13442949" cy="70902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BD39CBC8-ED61-DDB5-9620-840E0BE9B295}"/>
              </a:ext>
            </a:extLst>
          </p:cNvPr>
          <p:cNvSpPr/>
          <p:nvPr/>
        </p:nvSpPr>
        <p:spPr>
          <a:xfrm>
            <a:off x="0" y="-19556"/>
            <a:ext cx="13442950" cy="7090206"/>
          </a:xfrm>
          <a:prstGeom prst="rect">
            <a:avLst/>
          </a:prstGeom>
          <a:solidFill>
            <a:schemeClr val="accent2">
              <a:alpha val="58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EC604C8-DA25-4E17-AD53-C03B5779E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Brands can reach young men before they decide to purchas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07E781-6E09-4506-8909-A0C417AAC3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4748" y="664058"/>
            <a:ext cx="11145252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>
                <a:solidFill>
                  <a:srgbClr val="FFFFFF"/>
                </a:solidFill>
              </a:rPr>
              <a:t>Younger men are more likely to be inspired to buy products after watching their film, especially in groups of friends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24AF01-3C66-45E1-8929-C945A42D65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45316" y="7251119"/>
            <a:ext cx="6562409" cy="12311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Source: FAME 2021, 16-34 Men Index vs All Adults</a:t>
            </a:r>
          </a:p>
        </p:txBody>
      </p:sp>
      <p:sp>
        <p:nvSpPr>
          <p:cNvPr id="21" name="Freeform 64">
            <a:extLst>
              <a:ext uri="{FF2B5EF4-FFF2-40B4-BE49-F238E27FC236}">
                <a16:creationId xmlns:a16="http://schemas.microsoft.com/office/drawing/2014/main" id="{0F0A81E0-AA78-AE53-2B47-73AA7AFC4882}"/>
              </a:ext>
            </a:extLst>
          </p:cNvPr>
          <p:cNvSpPr>
            <a:spLocks noEditPoints="1"/>
          </p:cNvSpPr>
          <p:nvPr/>
        </p:nvSpPr>
        <p:spPr bwMode="auto">
          <a:xfrm>
            <a:off x="1598136" y="2090740"/>
            <a:ext cx="818203" cy="800059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FFFFFF"/>
              </a:solidFill>
            </a:endParaRPr>
          </a:p>
        </p:txBody>
      </p:sp>
      <p:sp>
        <p:nvSpPr>
          <p:cNvPr id="22" name="Freeform 101">
            <a:extLst>
              <a:ext uri="{FF2B5EF4-FFF2-40B4-BE49-F238E27FC236}">
                <a16:creationId xmlns:a16="http://schemas.microsoft.com/office/drawing/2014/main" id="{BB513AED-C9CB-740C-011C-B406C8DDC9AA}"/>
              </a:ext>
            </a:extLst>
          </p:cNvPr>
          <p:cNvSpPr>
            <a:spLocks noEditPoints="1"/>
          </p:cNvSpPr>
          <p:nvPr/>
        </p:nvSpPr>
        <p:spPr bwMode="auto">
          <a:xfrm>
            <a:off x="5586149" y="2081480"/>
            <a:ext cx="818203" cy="800059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41">
            <a:extLst>
              <a:ext uri="{FF2B5EF4-FFF2-40B4-BE49-F238E27FC236}">
                <a16:creationId xmlns:a16="http://schemas.microsoft.com/office/drawing/2014/main" id="{1D09C271-2198-6BAC-623C-1B73751A4A5F}"/>
              </a:ext>
            </a:extLst>
          </p:cNvPr>
          <p:cNvSpPr>
            <a:spLocks noEditPoints="1"/>
          </p:cNvSpPr>
          <p:nvPr/>
        </p:nvSpPr>
        <p:spPr bwMode="auto">
          <a:xfrm>
            <a:off x="9398492" y="2064346"/>
            <a:ext cx="818203" cy="800059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FFFFFF"/>
              </a:solidFill>
            </a:endParaRP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28376540-02F6-5DF5-9154-15A8EFA7A3B7}"/>
              </a:ext>
            </a:extLst>
          </p:cNvPr>
          <p:cNvSpPr txBox="1">
            <a:spLocks/>
          </p:cNvSpPr>
          <p:nvPr/>
        </p:nvSpPr>
        <p:spPr bwMode="gray">
          <a:xfrm>
            <a:off x="1364246" y="2038337"/>
            <a:ext cx="1992987" cy="1003948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lnSpc>
                <a:spcPct val="100000"/>
              </a:lnSpc>
            </a:pPr>
            <a:r>
              <a:rPr lang="en-GB" sz="4800" b="1" dirty="0">
                <a:solidFill>
                  <a:srgbClr val="FFFFFF"/>
                </a:solidFill>
              </a:rPr>
              <a:t>2x</a:t>
            </a:r>
            <a:endParaRPr lang="en-GB" sz="4400" b="1" dirty="0">
              <a:solidFill>
                <a:srgbClr val="FFFFFF"/>
              </a:solidFill>
            </a:endParaRP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36610660-B178-083F-A011-1708869D86D5}"/>
              </a:ext>
            </a:extLst>
          </p:cNvPr>
          <p:cNvSpPr txBox="1">
            <a:spLocks/>
          </p:cNvSpPr>
          <p:nvPr/>
        </p:nvSpPr>
        <p:spPr bwMode="gray">
          <a:xfrm>
            <a:off x="5326885" y="2028513"/>
            <a:ext cx="2033014" cy="1003948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lnSpc>
                <a:spcPct val="100000"/>
              </a:lnSpc>
            </a:pPr>
            <a:r>
              <a:rPr lang="en-GB" sz="4800" b="1" dirty="0">
                <a:solidFill>
                  <a:srgbClr val="FFFFFF"/>
                </a:solidFill>
              </a:rPr>
              <a:t>2x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E1BDEAB4-4B35-CC56-B26D-4EABC872E901}"/>
              </a:ext>
            </a:extLst>
          </p:cNvPr>
          <p:cNvSpPr txBox="1">
            <a:spLocks/>
          </p:cNvSpPr>
          <p:nvPr/>
        </p:nvSpPr>
        <p:spPr bwMode="gray">
          <a:xfrm>
            <a:off x="9392082" y="2025775"/>
            <a:ext cx="2330036" cy="1003948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lnSpc>
                <a:spcPct val="100000"/>
              </a:lnSpc>
            </a:pPr>
            <a:r>
              <a:rPr lang="en-GB" sz="4800" b="1" dirty="0">
                <a:solidFill>
                  <a:srgbClr val="FFFFFF"/>
                </a:solidFill>
              </a:rPr>
              <a:t>60%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5F252CA-C48A-A64E-E95F-22AB1F01AEED}"/>
              </a:ext>
            </a:extLst>
          </p:cNvPr>
          <p:cNvSpPr txBox="1"/>
          <p:nvPr/>
        </p:nvSpPr>
        <p:spPr>
          <a:xfrm>
            <a:off x="589667" y="2964384"/>
            <a:ext cx="3685189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1" algn="ctr">
              <a:lnSpc>
                <a:spcPct val="100000"/>
              </a:lnSpc>
            </a:pPr>
            <a:r>
              <a:rPr lang="en-GB" sz="1200" b="1" dirty="0">
                <a:solidFill>
                  <a:srgbClr val="FFFFFF"/>
                </a:solidFill>
              </a:rPr>
              <a:t>More likely to get fast food/takeaway immediately after</a:t>
            </a:r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7FA019F-3867-48FD-1622-F5BFA7AF2EEB}"/>
              </a:ext>
            </a:extLst>
          </p:cNvPr>
          <p:cNvSpPr txBox="1"/>
          <p:nvPr/>
        </p:nvSpPr>
        <p:spPr>
          <a:xfrm>
            <a:off x="9007899" y="2979825"/>
            <a:ext cx="2905621" cy="438582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1" algn="ctr">
              <a:lnSpc>
                <a:spcPct val="100000"/>
              </a:lnSpc>
            </a:pPr>
            <a:r>
              <a:rPr lang="en-GB" sz="1200" b="1" dirty="0">
                <a:solidFill>
                  <a:srgbClr val="FFFFFF"/>
                </a:solidFill>
              </a:rPr>
              <a:t>Go out for a meal</a:t>
            </a:r>
          </a:p>
          <a:p>
            <a:pPr lvl="1" algn="ctr">
              <a:lnSpc>
                <a:spcPct val="100000"/>
              </a:lnSpc>
            </a:pPr>
            <a:r>
              <a:rPr lang="en-GB" sz="1050" dirty="0">
                <a:solidFill>
                  <a:srgbClr val="FFFFFF"/>
                </a:solidFill>
              </a:rPr>
              <a:t>(Index: 184)</a:t>
            </a:r>
            <a:endParaRPr lang="en-GB" sz="500" dirty="0">
              <a:solidFill>
                <a:srgbClr val="FFFFFF"/>
              </a:solidFill>
            </a:endParaRPr>
          </a:p>
        </p:txBody>
      </p:sp>
      <p:sp>
        <p:nvSpPr>
          <p:cNvPr id="53" name="Content Placeholder 2">
            <a:extLst>
              <a:ext uri="{FF2B5EF4-FFF2-40B4-BE49-F238E27FC236}">
                <a16:creationId xmlns:a16="http://schemas.microsoft.com/office/drawing/2014/main" id="{8F2F2027-AAAC-4F22-766E-82A9C0620163}"/>
              </a:ext>
            </a:extLst>
          </p:cNvPr>
          <p:cNvSpPr txBox="1">
            <a:spLocks/>
          </p:cNvSpPr>
          <p:nvPr/>
        </p:nvSpPr>
        <p:spPr bwMode="gray">
          <a:xfrm>
            <a:off x="1475145" y="3912975"/>
            <a:ext cx="2330036" cy="1003948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lnSpc>
                <a:spcPct val="100000"/>
              </a:lnSpc>
            </a:pPr>
            <a:r>
              <a:rPr lang="en-GB" sz="4800" b="1" dirty="0">
                <a:solidFill>
                  <a:srgbClr val="FFFFFF"/>
                </a:solidFill>
              </a:rPr>
              <a:t>54%</a:t>
            </a:r>
            <a:endParaRPr lang="en-GB" sz="4400" b="1" dirty="0">
              <a:solidFill>
                <a:srgbClr val="FFFFFF"/>
              </a:solidFill>
            </a:endParaRPr>
          </a:p>
        </p:txBody>
      </p:sp>
      <p:sp>
        <p:nvSpPr>
          <p:cNvPr id="54" name="Content Placeholder 2">
            <a:extLst>
              <a:ext uri="{FF2B5EF4-FFF2-40B4-BE49-F238E27FC236}">
                <a16:creationId xmlns:a16="http://schemas.microsoft.com/office/drawing/2014/main" id="{7AF5512E-0764-E22F-EB9C-013063D3CA79}"/>
              </a:ext>
            </a:extLst>
          </p:cNvPr>
          <p:cNvSpPr txBox="1">
            <a:spLocks/>
          </p:cNvSpPr>
          <p:nvPr/>
        </p:nvSpPr>
        <p:spPr bwMode="gray">
          <a:xfrm>
            <a:off x="5612535" y="3884652"/>
            <a:ext cx="2330036" cy="1003948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lnSpc>
                <a:spcPct val="100000"/>
              </a:lnSpc>
            </a:pPr>
            <a:r>
              <a:rPr lang="en-GB" sz="4800" b="1" dirty="0">
                <a:solidFill>
                  <a:srgbClr val="FFFFFF"/>
                </a:solidFill>
              </a:rPr>
              <a:t>68%</a:t>
            </a:r>
          </a:p>
        </p:txBody>
      </p:sp>
      <p:sp>
        <p:nvSpPr>
          <p:cNvPr id="55" name="Content Placeholder 2">
            <a:extLst>
              <a:ext uri="{FF2B5EF4-FFF2-40B4-BE49-F238E27FC236}">
                <a16:creationId xmlns:a16="http://schemas.microsoft.com/office/drawing/2014/main" id="{057CC47F-0533-E0BA-C915-7E593A7BB1AC}"/>
              </a:ext>
            </a:extLst>
          </p:cNvPr>
          <p:cNvSpPr txBox="1">
            <a:spLocks/>
          </p:cNvSpPr>
          <p:nvPr/>
        </p:nvSpPr>
        <p:spPr bwMode="gray">
          <a:xfrm>
            <a:off x="9392083" y="3941412"/>
            <a:ext cx="2330036" cy="1003948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algn="r">
              <a:lnSpc>
                <a:spcPct val="100000"/>
              </a:lnSpc>
            </a:pPr>
            <a:r>
              <a:rPr lang="en-GB" sz="4800" b="1" dirty="0">
                <a:solidFill>
                  <a:srgbClr val="FFFFFF"/>
                </a:solidFill>
              </a:rPr>
              <a:t>93%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910813A1-EF26-2D4C-BA9B-26245FC7A6FA}"/>
              </a:ext>
            </a:extLst>
          </p:cNvPr>
          <p:cNvSpPr txBox="1"/>
          <p:nvPr/>
        </p:nvSpPr>
        <p:spPr>
          <a:xfrm>
            <a:off x="942120" y="4950199"/>
            <a:ext cx="3234708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1" algn="ctr">
              <a:lnSpc>
                <a:spcPct val="100000"/>
              </a:lnSpc>
            </a:pPr>
            <a:r>
              <a:rPr lang="en-GB" sz="1200" b="1" dirty="0">
                <a:solidFill>
                  <a:srgbClr val="FFFFFF"/>
                </a:solidFill>
              </a:rPr>
              <a:t>Shop on the high street</a:t>
            </a:r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B42C12F-9E4A-B165-B774-E04C79C051D2}"/>
              </a:ext>
            </a:extLst>
          </p:cNvPr>
          <p:cNvSpPr txBox="1"/>
          <p:nvPr/>
        </p:nvSpPr>
        <p:spPr>
          <a:xfrm>
            <a:off x="5036950" y="4945360"/>
            <a:ext cx="2905621" cy="64633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1" algn="ctr">
              <a:lnSpc>
                <a:spcPct val="100000"/>
              </a:lnSpc>
            </a:pPr>
            <a:r>
              <a:rPr lang="en-GB" sz="1200" b="1" dirty="0">
                <a:solidFill>
                  <a:srgbClr val="FFFFFF"/>
                </a:solidFill>
              </a:rPr>
              <a:t>Check mobile phone to browse or check social media</a:t>
            </a:r>
          </a:p>
          <a:p>
            <a:pPr lvl="1" algn="ctr">
              <a:lnSpc>
                <a:spcPct val="100000"/>
              </a:lnSpc>
            </a:pPr>
            <a:r>
              <a:rPr lang="en-GB" sz="1050" dirty="0">
                <a:solidFill>
                  <a:srgbClr val="FFFFFF"/>
                </a:solidFill>
              </a:rPr>
              <a:t>(Index: 142)</a:t>
            </a:r>
            <a:endParaRPr lang="en-GB" sz="500" dirty="0">
              <a:solidFill>
                <a:srgbClr val="FFFFFF"/>
              </a:solidFill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D363B70-C6D9-49C1-4703-24032021F747}"/>
              </a:ext>
            </a:extLst>
          </p:cNvPr>
          <p:cNvSpPr txBox="1"/>
          <p:nvPr/>
        </p:nvSpPr>
        <p:spPr>
          <a:xfrm>
            <a:off x="9007899" y="4937577"/>
            <a:ext cx="2905621" cy="461665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1" algn="ctr">
              <a:lnSpc>
                <a:spcPct val="100000"/>
              </a:lnSpc>
            </a:pPr>
            <a:r>
              <a:rPr lang="en-GB" sz="1200" b="1" dirty="0">
                <a:solidFill>
                  <a:srgbClr val="FFFFFF"/>
                </a:solidFill>
              </a:rPr>
              <a:t>More likely to go to a pub/bar after visiting the cinema</a:t>
            </a:r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E53CFA1-3C9E-3CEF-56BB-FE1B67134996}"/>
              </a:ext>
            </a:extLst>
          </p:cNvPr>
          <p:cNvSpPr txBox="1"/>
          <p:nvPr/>
        </p:nvSpPr>
        <p:spPr>
          <a:xfrm>
            <a:off x="4362394" y="2973225"/>
            <a:ext cx="4470430" cy="27699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lvl="1" algn="ctr">
              <a:lnSpc>
                <a:spcPct val="100000"/>
              </a:lnSpc>
            </a:pPr>
            <a:r>
              <a:rPr lang="en-GB" sz="1200" b="1" dirty="0">
                <a:solidFill>
                  <a:srgbClr val="FFFFFF"/>
                </a:solidFill>
              </a:rPr>
              <a:t>More likely to go online shopping immediately after</a:t>
            </a:r>
            <a:endParaRPr lang="en-GB" sz="700" dirty="0">
              <a:solidFill>
                <a:srgbClr val="FFFFFF"/>
              </a:solidFill>
            </a:endParaRPr>
          </a:p>
        </p:txBody>
      </p:sp>
      <p:sp>
        <p:nvSpPr>
          <p:cNvPr id="60" name="Freeform 296">
            <a:extLst>
              <a:ext uri="{FF2B5EF4-FFF2-40B4-BE49-F238E27FC236}">
                <a16:creationId xmlns:a16="http://schemas.microsoft.com/office/drawing/2014/main" id="{EB6B54F9-4538-1C44-FC19-CDF29325562D}"/>
              </a:ext>
            </a:extLst>
          </p:cNvPr>
          <p:cNvSpPr>
            <a:spLocks noEditPoints="1"/>
          </p:cNvSpPr>
          <p:nvPr/>
        </p:nvSpPr>
        <p:spPr bwMode="auto">
          <a:xfrm>
            <a:off x="5551146" y="3913853"/>
            <a:ext cx="888210" cy="859678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FFFFFF"/>
              </a:solidFill>
            </a:endParaRPr>
          </a:p>
        </p:txBody>
      </p:sp>
      <p:sp>
        <p:nvSpPr>
          <p:cNvPr id="61" name="Freeform 210">
            <a:extLst>
              <a:ext uri="{FF2B5EF4-FFF2-40B4-BE49-F238E27FC236}">
                <a16:creationId xmlns:a16="http://schemas.microsoft.com/office/drawing/2014/main" id="{FAEDE7D7-56A1-C7B3-8EF5-AF34063BBF4B}"/>
              </a:ext>
            </a:extLst>
          </p:cNvPr>
          <p:cNvSpPr>
            <a:spLocks noEditPoints="1"/>
          </p:cNvSpPr>
          <p:nvPr/>
        </p:nvSpPr>
        <p:spPr bwMode="auto">
          <a:xfrm>
            <a:off x="9392083" y="3909488"/>
            <a:ext cx="852785" cy="868408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FFFFFF"/>
              </a:solidFill>
            </a:endParaRPr>
          </a:p>
        </p:txBody>
      </p:sp>
      <p:sp>
        <p:nvSpPr>
          <p:cNvPr id="62" name="Freeform 101">
            <a:extLst>
              <a:ext uri="{FF2B5EF4-FFF2-40B4-BE49-F238E27FC236}">
                <a16:creationId xmlns:a16="http://schemas.microsoft.com/office/drawing/2014/main" id="{189ADA97-8A0D-B852-1CDE-C116DBA4E34B}"/>
              </a:ext>
            </a:extLst>
          </p:cNvPr>
          <p:cNvSpPr>
            <a:spLocks noEditPoints="1"/>
          </p:cNvSpPr>
          <p:nvPr/>
        </p:nvSpPr>
        <p:spPr bwMode="auto">
          <a:xfrm>
            <a:off x="1591887" y="3924260"/>
            <a:ext cx="818203" cy="800059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chemeClr val="accent5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8944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person, person&#10;&#10;Description automatically generated">
            <a:extLst>
              <a:ext uri="{FF2B5EF4-FFF2-40B4-BE49-F238E27FC236}">
                <a16:creationId xmlns:a16="http://schemas.microsoft.com/office/drawing/2014/main" id="{2BE9A29D-53F8-436D-8206-AD7DF939DA8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21"/>
          <a:stretch/>
        </p:blipFill>
        <p:spPr>
          <a:xfrm>
            <a:off x="-1" y="-3923"/>
            <a:ext cx="13442951" cy="7080584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0F3EBA04-07E4-35E9-6E32-7EB7304BC979}"/>
              </a:ext>
            </a:extLst>
          </p:cNvPr>
          <p:cNvSpPr/>
          <p:nvPr/>
        </p:nvSpPr>
        <p:spPr>
          <a:xfrm>
            <a:off x="0" y="0"/>
            <a:ext cx="13442950" cy="7076661"/>
          </a:xfrm>
          <a:prstGeom prst="rect">
            <a:avLst/>
          </a:prstGeom>
          <a:solidFill>
            <a:srgbClr val="EA576C">
              <a:alpha val="58000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0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AEE0EF6-FAC1-4D1C-8DA0-FCBAF73ABB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AUDIENCE SNAPSHOTS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25CD94-A4E7-4306-8894-E96B35D116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98116" y="7271167"/>
            <a:ext cx="7789766" cy="123111"/>
          </a:xfrm>
        </p:spPr>
        <p:txBody>
          <a:bodyPr/>
          <a:lstStyle/>
          <a:p>
            <a:pPr lvl="0">
              <a:buClrTx/>
              <a:buSzTx/>
              <a:defRPr/>
            </a:pPr>
            <a:r>
              <a:rPr lang="en-GB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Source: TGI GB Oct 2022, 16-34 Men who are heavy cinemagoers. Index vs GB avera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EFBA5A6-6D7C-4D84-8A83-58DBDF6118A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20337876" cy="570982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Category insight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03331376-0026-4312-B81F-15C967AF22EB}"/>
              </a:ext>
            </a:extLst>
          </p:cNvPr>
          <p:cNvSpPr txBox="1"/>
          <p:nvPr/>
        </p:nvSpPr>
        <p:spPr>
          <a:xfrm>
            <a:off x="1164930" y="1042510"/>
            <a:ext cx="267057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800">
                <a:solidFill>
                  <a:schemeClr val="bg1"/>
                </a:solidFill>
                <a:latin typeface="+mj-lt"/>
              </a:defRPr>
            </a:lvl1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TOR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56E473D0-1192-435A-B1DB-9E0AD684F30B}"/>
              </a:ext>
            </a:extLst>
          </p:cNvPr>
          <p:cNvSpPr txBox="1"/>
          <p:nvPr/>
        </p:nvSpPr>
        <p:spPr>
          <a:xfrm>
            <a:off x="5291543" y="1014065"/>
            <a:ext cx="2670577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FFFFFF"/>
                </a:solidFill>
              </a:defRPr>
            </a:lvl1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TECHNOLOGY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FC00FFB-E2E7-4602-A634-1D10A4AE4C88}"/>
              </a:ext>
            </a:extLst>
          </p:cNvPr>
          <p:cNvSpPr txBox="1"/>
          <p:nvPr/>
        </p:nvSpPr>
        <p:spPr>
          <a:xfrm>
            <a:off x="7535282" y="1024062"/>
            <a:ext cx="603149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400" b="1">
                <a:solidFill>
                  <a:srgbClr val="FFFFFF"/>
                </a:solidFill>
              </a:defRPr>
            </a:lvl1pPr>
          </a:lstStyle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RETAIL</a:t>
            </a: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6A4962CE-E113-4262-B151-35E1EB56C0B5}"/>
              </a:ext>
            </a:extLst>
          </p:cNvPr>
          <p:cNvSpPr/>
          <p:nvPr/>
        </p:nvSpPr>
        <p:spPr>
          <a:xfrm>
            <a:off x="672899" y="1425062"/>
            <a:ext cx="3778996" cy="1515603"/>
          </a:xfrm>
          <a:prstGeom prst="round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I LIKE INNOVATIVE CARS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: 186</a:t>
            </a: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CF95E091-CF86-437A-829D-EC797E3FD7C0}"/>
              </a:ext>
            </a:extLst>
          </p:cNvPr>
          <p:cNvSpPr/>
          <p:nvPr/>
        </p:nvSpPr>
        <p:spPr>
          <a:xfrm>
            <a:off x="691339" y="3080307"/>
            <a:ext cx="3778996" cy="1515603"/>
          </a:xfrm>
          <a:prstGeom prst="round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ND TO </a:t>
            </a:r>
            <a:r>
              <a:rPr lang="en-GB" sz="1400" b="1" dirty="0">
                <a:solidFill>
                  <a:srgbClr val="FFFFFF"/>
                </a:solidFill>
                <a:latin typeface="Arial"/>
              </a:rPr>
              <a:t>SPEND £45K OR MORE ON A </a:t>
            </a: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 PURCHASE IN NEXT 24 MONTHS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: 219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D1C6C64A-8623-490D-A340-2EE7ECA7E614}"/>
              </a:ext>
            </a:extLst>
          </p:cNvPr>
          <p:cNvSpPr/>
          <p:nvPr/>
        </p:nvSpPr>
        <p:spPr>
          <a:xfrm>
            <a:off x="672899" y="4873684"/>
            <a:ext cx="3778996" cy="1515603"/>
          </a:xfrm>
          <a:prstGeom prst="round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ND TO BUY IN THE NEXT TWO YEARS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: 117</a:t>
            </a: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32E68D08-D358-4A29-931A-3DA6C2AD606A}"/>
              </a:ext>
            </a:extLst>
          </p:cNvPr>
          <p:cNvSpPr/>
          <p:nvPr/>
        </p:nvSpPr>
        <p:spPr>
          <a:xfrm>
            <a:off x="4723881" y="3116245"/>
            <a:ext cx="3778996" cy="1515603"/>
          </a:xfrm>
          <a:prstGeom prst="round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I LIKE TO HAVE TECHNOLOGY THAT MAKES LIFE EASIER AT HOME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:120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C67D99F-1435-4CD5-A165-F7639CD20413}"/>
              </a:ext>
            </a:extLst>
          </p:cNvPr>
          <p:cNvSpPr/>
          <p:nvPr/>
        </p:nvSpPr>
        <p:spPr>
          <a:xfrm>
            <a:off x="4726829" y="4871609"/>
            <a:ext cx="3778996" cy="1515603"/>
          </a:xfrm>
          <a:prstGeom prst="round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TEND TO PURCHASE PERSONAL SMART TECH OR FOR THE HOME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400" b="1" dirty="0">
              <a:solidFill>
                <a:srgbClr val="FFFFFF"/>
              </a:solidFill>
              <a:latin typeface="Arial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rgbClr val="FFFFFF"/>
                </a:solidFill>
                <a:latin typeface="Arial"/>
              </a:rPr>
              <a:t>Index: 130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4432E4D0-F479-4D73-AB6E-2DABF9FC0338}"/>
              </a:ext>
            </a:extLst>
          </p:cNvPr>
          <p:cNvSpPr/>
          <p:nvPr/>
        </p:nvSpPr>
        <p:spPr>
          <a:xfrm>
            <a:off x="8724784" y="1434983"/>
            <a:ext cx="3778996" cy="1515603"/>
          </a:xfrm>
          <a:prstGeom prst="round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I’M TEMPTED TO BUY PRODUCTS I’VE SEEN ADVERTISED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: 147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F201C615-A18D-45C5-8269-C6C49B915A89}"/>
              </a:ext>
            </a:extLst>
          </p:cNvPr>
          <p:cNvSpPr/>
          <p:nvPr/>
        </p:nvSpPr>
        <p:spPr>
          <a:xfrm>
            <a:off x="8719070" y="3116245"/>
            <a:ext cx="3778996" cy="1515603"/>
          </a:xfrm>
          <a:prstGeom prst="round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rgbClr val="FFFFFF"/>
                </a:solidFill>
                <a:latin typeface="Arial"/>
              </a:rPr>
              <a:t>“I REALLY ENJOY SHOPPING FOR CLOTHES”</a:t>
            </a: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: 112</a:t>
            </a:r>
          </a:p>
        </p:txBody>
      </p:sp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4531048F-3252-47D0-8DB4-BFA942FFD640}"/>
              </a:ext>
            </a:extLst>
          </p:cNvPr>
          <p:cNvSpPr/>
          <p:nvPr/>
        </p:nvSpPr>
        <p:spPr>
          <a:xfrm>
            <a:off x="8719070" y="4871512"/>
            <a:ext cx="3778996" cy="1515603"/>
          </a:xfrm>
          <a:prstGeom prst="round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BUY NEW PRODUCTS BEFORE MOST 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F MY FRIENDS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:  180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14BDC1CA-23FF-40BC-5FDA-CC5D4D2E4267}"/>
              </a:ext>
            </a:extLst>
          </p:cNvPr>
          <p:cNvSpPr/>
          <p:nvPr/>
        </p:nvSpPr>
        <p:spPr>
          <a:xfrm>
            <a:off x="4737333" y="1408797"/>
            <a:ext cx="3778996" cy="1515603"/>
          </a:xfrm>
          <a:prstGeom prst="roundRect">
            <a:avLst/>
          </a:prstGeom>
          <a:noFill/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“I TRY TO KEEP UP WITH DEVELOPMENTS IN TECHNOLOGY”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dex:146</a:t>
            </a:r>
          </a:p>
        </p:txBody>
      </p:sp>
    </p:spTree>
    <p:extLst>
      <p:ext uri="{BB962C8B-B14F-4D97-AF65-F5344CB8AC3E}">
        <p14:creationId xmlns:p14="http://schemas.microsoft.com/office/powerpoint/2010/main" val="103011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823</Words>
  <Application>Microsoft Office PowerPoint</Application>
  <PresentationFormat>Custom</PresentationFormat>
  <Paragraphs>124</Paragraphs>
  <Slides>6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Arial</vt:lpstr>
      <vt:lpstr>Century Gothic</vt:lpstr>
      <vt:lpstr>Impact</vt:lpstr>
      <vt:lpstr>Wingdings</vt:lpstr>
      <vt:lpstr>2_Copy Slides</vt:lpstr>
      <vt:lpstr>think-cell Slide</vt:lpstr>
      <vt:lpstr>Dungeons &amp; dragons: HONOUR AMONG THIEVES</vt:lpstr>
      <vt:lpstr>DUNGEONS &amp; DRAGONS HAS EXPERIENCED A RENAISSANCE IN RECENT YEARS</vt:lpstr>
      <vt:lpstr>DUNGEONS &amp; DRAGONS will attract YOUNG ABC1 mEN</vt:lpstr>
      <vt:lpstr>Young men are more receptive to ads in the cinema </vt:lpstr>
      <vt:lpstr>Brands can reach young men before they decide to purchase</vt:lpstr>
      <vt:lpstr>AUDIENCE SNAPSHOTS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0-02-06T16:45:40Z</dcterms:created>
  <dcterms:modified xsi:type="dcterms:W3CDTF">2022-11-18T14:58:0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